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05/11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05/11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A4154AB-C19B-48A6-914B-F8C02831F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50" name="Objekt 83" hidden="1">
                        <a:extLst>
                          <a:ext uri="{FF2B5EF4-FFF2-40B4-BE49-F238E27FC236}">
                            <a16:creationId xmlns:a16="http://schemas.microsoft.com/office/drawing/2014/main" id="{F6DB1090-8645-4D52-A094-860CB5ECF3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26918-FBFE-44A2-8AE2-AD93379E3F9D}"/>
              </a:ext>
            </a:extLst>
          </p:cNvPr>
          <p:cNvSpPr txBox="1">
            <a:spLocks/>
          </p:cNvSpPr>
          <p:nvPr userDrawn="1"/>
        </p:nvSpPr>
        <p:spPr>
          <a:xfrm>
            <a:off x="657226" y="6551229"/>
            <a:ext cx="5321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EA20956-BA84-4B4E-A28E-05A5A454B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50"/>
            <a:ext cx="8058150" cy="1231106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4" y="2156110"/>
            <a:ext cx="6408737" cy="872034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35423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7088D08C-E7A8-4239-A70A-447374DE7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CCC237D7-6107-4264-A49D-A2E33A4D67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870D1-D046-4E87-829E-B10D17B2C015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AA16-8C05-41D3-AE13-FBED031224D6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1B9B72F4-75C2-4486-AB99-B57485918DA6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FDFEC748-E07C-4944-94C8-E0EE02792E46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9DF08BC4-C051-4993-8C25-0E1E27D1C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F74773F3-6003-450E-B1F3-68500396D2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6F91B293-4082-494A-97AD-7D666548C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1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080" name="Objekt 82" hidden="1">
                        <a:extLst>
                          <a:ext uri="{FF2B5EF4-FFF2-40B4-BE49-F238E27FC236}">
                            <a16:creationId xmlns:a16="http://schemas.microsoft.com/office/drawing/2014/main" id="{4FF5A0B0-01BA-4C73-9ECF-E34B6630208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783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4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6084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1214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47E8AC6-7CFE-4DD1-B5E1-651AE33DC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6654ED73-B109-4FC4-BAA4-7BFEC7F59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10">
            <a:extLst>
              <a:ext uri="{FF2B5EF4-FFF2-40B4-BE49-F238E27FC236}">
                <a16:creationId xmlns:a16="http://schemas.microsoft.com/office/drawing/2014/main" id="{45D6126B-DAA4-4EE5-B1B1-69ABDF3753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050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5CBE7971-DC50-43DC-86DD-2FC5CF730C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946231" y="6481763"/>
            <a:ext cx="695325" cy="254000"/>
            <a:chOff x="5549665" y="6206561"/>
            <a:chExt cx="1423860" cy="388326"/>
          </a:xfrm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A8FAAC5A-945B-46DC-BDD3-471457DE9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147483646 w 88"/>
                <a:gd name="T1" fmla="*/ 2147483646 h 71"/>
                <a:gd name="T2" fmla="*/ 2147483646 w 88"/>
                <a:gd name="T3" fmla="*/ 0 h 71"/>
                <a:gd name="T4" fmla="*/ 2147483646 w 88"/>
                <a:gd name="T5" fmla="*/ 0 h 71"/>
                <a:gd name="T6" fmla="*/ 0 w 88"/>
                <a:gd name="T7" fmla="*/ 2147483646 h 71"/>
                <a:gd name="T8" fmla="*/ 2147483646 w 88"/>
                <a:gd name="T9" fmla="*/ 2147483646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EDB763DB-DB40-4553-BC06-434019DBB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2147483646 w 447"/>
                <a:gd name="T1" fmla="*/ 2147483646 h 122"/>
                <a:gd name="T2" fmla="*/ 2147483646 w 447"/>
                <a:gd name="T3" fmla="*/ 2147483646 h 122"/>
                <a:gd name="T4" fmla="*/ 2147483646 w 447"/>
                <a:gd name="T5" fmla="*/ 2147483646 h 122"/>
                <a:gd name="T6" fmla="*/ 2147483646 w 447"/>
                <a:gd name="T7" fmla="*/ 2147483646 h 122"/>
                <a:gd name="T8" fmla="*/ 2147483646 w 447"/>
                <a:gd name="T9" fmla="*/ 2147483646 h 122"/>
                <a:gd name="T10" fmla="*/ 2147483646 w 447"/>
                <a:gd name="T11" fmla="*/ 2147483646 h 122"/>
                <a:gd name="T12" fmla="*/ 2147483646 w 447"/>
                <a:gd name="T13" fmla="*/ 2147483646 h 122"/>
                <a:gd name="T14" fmla="*/ 0 w 447"/>
                <a:gd name="T15" fmla="*/ 2147483646 h 122"/>
                <a:gd name="T16" fmla="*/ 2147483646 w 447"/>
                <a:gd name="T17" fmla="*/ 2147483646 h 122"/>
                <a:gd name="T18" fmla="*/ 2147483646 w 447"/>
                <a:gd name="T19" fmla="*/ 2147483646 h 122"/>
                <a:gd name="T20" fmla="*/ 2147483646 w 447"/>
                <a:gd name="T21" fmla="*/ 2147483646 h 122"/>
                <a:gd name="T22" fmla="*/ 2147483646 w 447"/>
                <a:gd name="T23" fmla="*/ 2147483646 h 122"/>
                <a:gd name="T24" fmla="*/ 2147483646 w 447"/>
                <a:gd name="T25" fmla="*/ 2147483646 h 122"/>
                <a:gd name="T26" fmla="*/ 2147483646 w 447"/>
                <a:gd name="T27" fmla="*/ 2147483646 h 122"/>
                <a:gd name="T28" fmla="*/ 2147483646 w 447"/>
                <a:gd name="T29" fmla="*/ 2147483646 h 122"/>
                <a:gd name="T30" fmla="*/ 2147483646 w 447"/>
                <a:gd name="T31" fmla="*/ 2147483646 h 122"/>
                <a:gd name="T32" fmla="*/ 2147483646 w 447"/>
                <a:gd name="T33" fmla="*/ 2147483646 h 122"/>
                <a:gd name="T34" fmla="*/ 2147483646 w 447"/>
                <a:gd name="T35" fmla="*/ 2147483646 h 122"/>
                <a:gd name="T36" fmla="*/ 2147483646 w 447"/>
                <a:gd name="T37" fmla="*/ 2147483646 h 122"/>
                <a:gd name="T38" fmla="*/ 2147483646 w 447"/>
                <a:gd name="T39" fmla="*/ 2147483646 h 122"/>
                <a:gd name="T40" fmla="*/ 2147483646 w 447"/>
                <a:gd name="T41" fmla="*/ 2147483646 h 122"/>
                <a:gd name="T42" fmla="*/ 2147483646 w 447"/>
                <a:gd name="T43" fmla="*/ 2147483646 h 122"/>
                <a:gd name="T44" fmla="*/ 2147483646 w 447"/>
                <a:gd name="T45" fmla="*/ 2147483646 h 122"/>
                <a:gd name="T46" fmla="*/ 2147483646 w 447"/>
                <a:gd name="T47" fmla="*/ 2147483646 h 122"/>
                <a:gd name="T48" fmla="*/ 2147483646 w 447"/>
                <a:gd name="T49" fmla="*/ 2147483646 h 122"/>
                <a:gd name="T50" fmla="*/ 2147483646 w 447"/>
                <a:gd name="T51" fmla="*/ 2147483646 h 122"/>
                <a:gd name="T52" fmla="*/ 2147483646 w 447"/>
                <a:gd name="T53" fmla="*/ 2147483646 h 122"/>
                <a:gd name="T54" fmla="*/ 2147483646 w 447"/>
                <a:gd name="T55" fmla="*/ 2147483646 h 122"/>
                <a:gd name="T56" fmla="*/ 2147483646 w 447"/>
                <a:gd name="T57" fmla="*/ 2147483646 h 122"/>
                <a:gd name="T58" fmla="*/ 2147483646 w 447"/>
                <a:gd name="T59" fmla="*/ 2147483646 h 122"/>
                <a:gd name="T60" fmla="*/ 2147483646 w 447"/>
                <a:gd name="T61" fmla="*/ 2147483646 h 122"/>
                <a:gd name="T62" fmla="*/ 2147483646 w 447"/>
                <a:gd name="T63" fmla="*/ 2147483646 h 122"/>
                <a:gd name="T64" fmla="*/ 2147483646 w 447"/>
                <a:gd name="T65" fmla="*/ 2147483646 h 122"/>
                <a:gd name="T66" fmla="*/ 2147483646 w 447"/>
                <a:gd name="T67" fmla="*/ 2147483646 h 122"/>
                <a:gd name="T68" fmla="*/ 2147483646 w 447"/>
                <a:gd name="T69" fmla="*/ 2147483646 h 122"/>
                <a:gd name="T70" fmla="*/ 2147483646 w 447"/>
                <a:gd name="T71" fmla="*/ 2147483646 h 122"/>
                <a:gd name="T72" fmla="*/ 2147483646 w 447"/>
                <a:gd name="T73" fmla="*/ 2147483646 h 122"/>
                <a:gd name="T74" fmla="*/ 2147483646 w 447"/>
                <a:gd name="T75" fmla="*/ 2147483646 h 122"/>
                <a:gd name="T76" fmla="*/ 2147483646 w 447"/>
                <a:gd name="T77" fmla="*/ 2147483646 h 122"/>
                <a:gd name="T78" fmla="*/ 2147483646 w 447"/>
                <a:gd name="T79" fmla="*/ 2147483646 h 122"/>
                <a:gd name="T80" fmla="*/ 2147483646 w 447"/>
                <a:gd name="T81" fmla="*/ 2147483646 h 122"/>
                <a:gd name="T82" fmla="*/ 2147483646 w 447"/>
                <a:gd name="T83" fmla="*/ 2147483646 h 122"/>
                <a:gd name="T84" fmla="*/ 2147483646 w 447"/>
                <a:gd name="T85" fmla="*/ 2147483646 h 122"/>
                <a:gd name="T86" fmla="*/ 2147483646 w 447"/>
                <a:gd name="T87" fmla="*/ 2147483646 h 1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3" y="2507780"/>
            <a:ext cx="7993063" cy="123110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1"/>
              <a:t>Fare clic per modificare lo stile del titolo dello schema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3" y="3856270"/>
            <a:ext cx="7993063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3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95" hidden="1">
            <a:extLst>
              <a:ext uri="{FF2B5EF4-FFF2-40B4-BE49-F238E27FC236}">
                <a16:creationId xmlns:a16="http://schemas.microsoft.com/office/drawing/2014/main" id="{62A7A58F-7C2B-46C0-AE55-6DD8043D8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kt 95" hidden="1">
                        <a:extLst>
                          <a:ext uri="{FF2B5EF4-FFF2-40B4-BE49-F238E27FC236}">
                            <a16:creationId xmlns:a16="http://schemas.microsoft.com/office/drawing/2014/main" id="{46333DD0-5169-4A4A-8E46-C071AB870A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0" descr="RetroMKTGstatement16x9new.jpg">
            <a:extLst>
              <a:ext uri="{FF2B5EF4-FFF2-40B4-BE49-F238E27FC236}">
                <a16:creationId xmlns:a16="http://schemas.microsoft.com/office/drawing/2014/main" id="{EDB90A96-3107-4C05-981A-3427F4EA31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" y="0"/>
            <a:ext cx="9115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864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49885118-1FD7-42B8-8342-69C303DB72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146" name="Objekt 84" hidden="1">
                        <a:extLst>
                          <a:ext uri="{FF2B5EF4-FFF2-40B4-BE49-F238E27FC236}">
                            <a16:creationId xmlns:a16="http://schemas.microsoft.com/office/drawing/2014/main" id="{C452E80F-7DDF-47E6-A451-FFD8F0EFF07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09F4FD-B4BA-4EE7-A781-05BC48512EE3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33A82C-A068-44C4-A3D2-5F9BFACE8900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73EC4A88-59B7-41F3-8707-3651861610F4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C8EF36EE-3995-4287-AD91-C27811434C8F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36D63AAA-A26C-4DA5-ABA1-405A3294C7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55D92DB0-676E-45DA-87C0-B920DF5FCF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B8293695-DF34-4872-A891-2A62D25F49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5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6152" name="Objekt 82" hidden="1">
                        <a:extLst>
                          <a:ext uri="{FF2B5EF4-FFF2-40B4-BE49-F238E27FC236}">
                            <a16:creationId xmlns:a16="http://schemas.microsoft.com/office/drawing/2014/main" id="{B4415ED2-FE14-4E15-BAAB-97C2D5DD11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2" y="334804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5374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13C13B57-4297-46D6-BE6A-C353A4B7EAD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44D3E099-2BC1-4202-A244-D63685477D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2" y="334965"/>
            <a:ext cx="79950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 noProof="1"/>
              <a:t>Titelmasterformat durch Klicken bearbeiten</a:t>
            </a:r>
            <a:endParaRPr lang="en-GB" altLang="it-IT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D70B675-B82D-4D43-9942-3AC241118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3"/>
            <a:ext cx="7992666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1"/>
              <a:t>Click to edit text style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24C7DC9F-4C08-4EF4-A291-8A42E8E67039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8C1A9467-0943-43AA-B6A1-3E16CF866444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F0BECDF1-AF6D-408E-8FE7-ABFC07EAFA65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59DB4AC-7344-4C04-8C67-FA7060886ACB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Immagine 15" descr="SidelLogoRGB.png">
            <a:extLst>
              <a:ext uri="{FF2B5EF4-FFF2-40B4-BE49-F238E27FC236}">
                <a16:creationId xmlns:a16="http://schemas.microsoft.com/office/drawing/2014/main" id="{133815B4-6C3D-4D28-BB89-71C7CCFD7F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7A0E173-084A-4549-9285-A41C8264A4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679" y="6624578"/>
            <a:ext cx="662642" cy="2334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</p:spTree>
    <p:custDataLst>
      <p:tags r:id="rId10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67" r:id="rId3"/>
    <p:sldLayoutId id="2147483768" r:id="rId4"/>
    <p:sldLayoutId id="2147483771" r:id="rId5"/>
    <p:sldLayoutId id="2147483772" r:id="rId6"/>
    <p:sldLayoutId id="2147483773" r:id="rId7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75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2">
            <a:extLst>
              <a:ext uri="{FF2B5EF4-FFF2-40B4-BE49-F238E27FC236}">
                <a16:creationId xmlns:a16="http://schemas.microsoft.com/office/drawing/2014/main" id="{2AF2AE93-36A8-4FCC-AB83-6BB97D7EF157}"/>
              </a:ext>
            </a:extLst>
          </p:cNvPr>
          <p:cNvSpPr>
            <a:spLocks/>
          </p:cNvSpPr>
          <p:nvPr/>
        </p:nvSpPr>
        <p:spPr>
          <a:xfrm>
            <a:off x="4751388" y="2305053"/>
            <a:ext cx="3889375" cy="351631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182558" lvl="1" indent="-182558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00" algn="l"/>
                <a:tab pos="3151109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system with E+H updated families of products:</a:t>
            </a:r>
          </a:p>
          <a:p>
            <a:pPr marL="639747" lvl="2" indent="-182558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00" algn="l"/>
                <a:tab pos="3151109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The new system consists of </a:t>
            </a:r>
            <a:r>
              <a:rPr lang="en-US" altLang="x-none" sz="1100" dirty="0">
                <a:solidFill>
                  <a:srgbClr val="FF0000"/>
                </a:solidFill>
              </a:rPr>
              <a:t>New Proline 300/500 </a:t>
            </a:r>
            <a:r>
              <a:rPr lang="en-US" altLang="en-US" sz="1100" dirty="0">
                <a:solidFill>
                  <a:schemeClr val="tx1"/>
                </a:solidFill>
              </a:rPr>
              <a:t>Flowmeters </a:t>
            </a:r>
            <a:r>
              <a:rPr lang="en-US" altLang="x-none" sz="1100" dirty="0">
                <a:solidFill>
                  <a:srgbClr val="000000"/>
                </a:solidFill>
              </a:rPr>
              <a:t> automation link. </a:t>
            </a:r>
          </a:p>
          <a:p>
            <a:pPr marL="639747" lvl="2" indent="-182558">
              <a:spcBef>
                <a:spcPts val="3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74900" algn="l"/>
                <a:tab pos="3151109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It includes the necessary PLC Software mods, piping modifications where needed, installation kit and Calibration in production with FSE intervention.</a:t>
            </a:r>
            <a:endParaRPr lang="en-US" altLang="x-none" sz="1100" dirty="0">
              <a:solidFill>
                <a:srgbClr val="FF0000"/>
              </a:solidFill>
            </a:endParaRPr>
          </a:p>
        </p:txBody>
      </p:sp>
      <p:sp>
        <p:nvSpPr>
          <p:cNvPr id="15363" name="Title 1">
            <a:extLst>
              <a:ext uri="{FF2B5EF4-FFF2-40B4-BE49-F238E27FC236}">
                <a16:creationId xmlns:a16="http://schemas.microsoft.com/office/drawing/2014/main" id="{1D04DE06-E8B1-4E21-AC48-981963F1752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9287" y="343686"/>
            <a:ext cx="6124617" cy="461665"/>
          </a:xfrm>
        </p:spPr>
        <p:txBody>
          <a:bodyPr/>
          <a:lstStyle/>
          <a:p>
            <a:pPr eaLnBrk="1" hangingPunct="1"/>
            <a:r>
              <a:rPr lang="en-GB" altLang="it-IT" dirty="0">
                <a:solidFill>
                  <a:srgbClr val="E64B00"/>
                </a:solidFill>
              </a:rPr>
              <a:t>Anticipate Spare parts shortage</a:t>
            </a:r>
            <a:endParaRPr lang="en-US" altLang="fr-FR" dirty="0">
              <a:solidFill>
                <a:srgbClr val="E64B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85C905FB-0680-4781-8D2B-718D85CBEC91}"/>
              </a:ext>
            </a:extLst>
          </p:cNvPr>
          <p:cNvSpPr>
            <a:spLocks/>
          </p:cNvSpPr>
          <p:nvPr/>
        </p:nvSpPr>
        <p:spPr>
          <a:xfrm>
            <a:off x="649287" y="2308226"/>
            <a:ext cx="3889375" cy="351313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182558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Safer solution with newer component available in the market.</a:t>
            </a:r>
          </a:p>
          <a:p>
            <a:pPr marL="182558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639747" lvl="1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E+H </a:t>
            </a:r>
            <a:r>
              <a:rPr lang="en-US" altLang="x-none" sz="1100" dirty="0" err="1">
                <a:solidFill>
                  <a:schemeClr val="tx1"/>
                </a:solidFill>
              </a:rPr>
              <a:t>Promass</a:t>
            </a:r>
            <a:r>
              <a:rPr lang="en-US" altLang="x-none" sz="1100" dirty="0">
                <a:solidFill>
                  <a:schemeClr val="tx1"/>
                </a:solidFill>
              </a:rPr>
              <a:t> 83/63F and Promag 50H/53H </a:t>
            </a:r>
            <a:r>
              <a:rPr lang="en-US" altLang="x-none" sz="1100" dirty="0">
                <a:solidFill>
                  <a:srgbClr val="000000"/>
                </a:solidFill>
              </a:rPr>
              <a:t>families installed on Several Mixers and Carbo production is stopped by manufacturer.</a:t>
            </a:r>
          </a:p>
          <a:p>
            <a:pPr marL="639747" lvl="1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imminent Spare Part unavailability.</a:t>
            </a:r>
          </a:p>
          <a:p>
            <a:pPr marL="639747" lvl="1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82558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b="1" dirty="0">
                <a:solidFill>
                  <a:srgbClr val="E64B00"/>
                </a:solidFill>
              </a:rPr>
              <a:t>Communication features: </a:t>
            </a:r>
            <a:r>
              <a:rPr lang="en-US" sz="1100" dirty="0">
                <a:solidFill>
                  <a:schemeClr val="tx1"/>
                </a:solidFill>
              </a:rPr>
              <a:t>HART, Wireless HART, Profibus PA/DP, Foundation Fields, Modbus RS485, Ethernet IP, Profinet) I/O</a:t>
            </a:r>
            <a:r>
              <a:rPr lang="en-US" altLang="x-none" sz="1100" dirty="0">
                <a:solidFill>
                  <a:srgbClr val="000000"/>
                </a:solidFill>
              </a:rPr>
              <a:t> </a:t>
            </a:r>
          </a:p>
          <a:p>
            <a:pPr marL="182558" indent="-18255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b="1" dirty="0">
                <a:solidFill>
                  <a:srgbClr val="E64B00"/>
                </a:solidFill>
              </a:rPr>
              <a:t>Additional Features: </a:t>
            </a:r>
            <a:r>
              <a:rPr lang="en-US" altLang="x-none" sz="1100" dirty="0">
                <a:solidFill>
                  <a:schemeClr val="tx1"/>
                </a:solidFill>
              </a:rPr>
              <a:t>ISO/IEC 17025 calibration, Error message archive up to 1000 on logbooks, Diagnostic coverage &gt;95%, </a:t>
            </a:r>
            <a:r>
              <a:rPr lang="en-US" sz="1100" dirty="0">
                <a:solidFill>
                  <a:srgbClr val="000000"/>
                </a:solidFill>
              </a:rPr>
              <a:t>IP 66/67 protection with boxing type 4X, Option: IP69K Stainless steel</a:t>
            </a:r>
            <a:endParaRPr lang="en-US" altLang="x-none" sz="1100" dirty="0">
              <a:solidFill>
                <a:srgbClr val="000000"/>
              </a:solidFill>
            </a:endParaRPr>
          </a:p>
        </p:txBody>
      </p:sp>
      <p:sp>
        <p:nvSpPr>
          <p:cNvPr id="15367" name="Text Placeholder 2">
            <a:extLst>
              <a:ext uri="{FF2B5EF4-FFF2-40B4-BE49-F238E27FC236}">
                <a16:creationId xmlns:a16="http://schemas.microsoft.com/office/drawing/2014/main" id="{A2EE0D60-775F-454C-9592-2D23716633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287" y="1647520"/>
            <a:ext cx="538635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77800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4988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/>
              <a:t>E+H Flowmeter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298DF03-D173-4D0E-95D2-CE2679C21CC6}"/>
              </a:ext>
            </a:extLst>
          </p:cNvPr>
          <p:cNvSpPr txBox="1">
            <a:spLocks/>
          </p:cNvSpPr>
          <p:nvPr/>
        </p:nvSpPr>
        <p:spPr>
          <a:xfrm>
            <a:off x="649287" y="5914317"/>
            <a:ext cx="2640919" cy="4185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Value: Obsolescence</a:t>
            </a: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lang="it-IT" sz="800" kern="0" dirty="0"/>
              <a:t>SAE, SAG, SAF, SAM, Mixer and Carbo</a:t>
            </a:r>
            <a:endParaRPr sz="800" kern="0" dirty="0"/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Catalogue code:</a:t>
            </a:r>
            <a:r>
              <a:rPr lang="it-IT" sz="800" kern="0" dirty="0">
                <a:solidFill>
                  <a:srgbClr val="000000"/>
                </a:solidFill>
              </a:rPr>
              <a:t> OCM001</a:t>
            </a:r>
            <a:endParaRPr sz="800" kern="0" dirty="0">
              <a:solidFill>
                <a:srgbClr val="000000"/>
              </a:solidFill>
            </a:endParaRPr>
          </a:p>
        </p:txBody>
      </p:sp>
      <p:pic>
        <p:nvPicPr>
          <p:cNvPr id="11" name="Immagine 10" descr="Immagine che contiene strada, esterni, cielo&#10;&#10;Descrizione generata con affidabilità elevata">
            <a:extLst>
              <a:ext uri="{FF2B5EF4-FFF2-40B4-BE49-F238E27FC236}">
                <a16:creationId xmlns:a16="http://schemas.microsoft.com/office/drawing/2014/main" id="{EF870D8F-EC4A-4297-A331-9CB4ABE3D7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267" y="3845898"/>
            <a:ext cx="1604133" cy="1903412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63D62A06-D380-420F-9306-24E34D5CB2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279" y="3788718"/>
            <a:ext cx="1614216" cy="2017771"/>
          </a:xfrm>
          <a:prstGeom prst="rect">
            <a:avLst/>
          </a:prstGeom>
        </p:spPr>
      </p:pic>
      <p:sp>
        <p:nvSpPr>
          <p:cNvPr id="13" name="Rechteck 3">
            <a:extLst>
              <a:ext uri="{FF2B5EF4-FFF2-40B4-BE49-F238E27FC236}">
                <a16:creationId xmlns:a16="http://schemas.microsoft.com/office/drawing/2014/main" id="{7EB2F4A4-5414-478C-86D6-545033FEFC42}"/>
              </a:ext>
            </a:extLst>
          </p:cNvPr>
          <p:cNvSpPr/>
          <p:nvPr/>
        </p:nvSpPr>
        <p:spPr bwMode="auto">
          <a:xfrm>
            <a:off x="649287" y="1928815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14" name="Rechteck 11">
            <a:extLst>
              <a:ext uri="{FF2B5EF4-FFF2-40B4-BE49-F238E27FC236}">
                <a16:creationId xmlns:a16="http://schemas.microsoft.com/office/drawing/2014/main" id="{D4EBA8D8-8A67-45BA-AA8B-BFADD1BC4F55}"/>
              </a:ext>
            </a:extLst>
          </p:cNvPr>
          <p:cNvSpPr/>
          <p:nvPr/>
        </p:nvSpPr>
        <p:spPr bwMode="auto">
          <a:xfrm>
            <a:off x="4751387" y="1928814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4709</TotalTime>
  <Words>200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0-11-05T11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